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7"/>
  </p:notesMasterIdLst>
  <p:sldIdLst>
    <p:sldId id="257" r:id="rId2"/>
    <p:sldId id="1372" r:id="rId3"/>
    <p:sldId id="1375" r:id="rId4"/>
    <p:sldId id="1254" r:id="rId5"/>
    <p:sldId id="1255" r:id="rId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547" autoAdjust="0"/>
    <p:restoredTop sz="89117"/>
  </p:normalViewPr>
  <p:slideViewPr>
    <p:cSldViewPr snapToGrid="0">
      <p:cViewPr varScale="1">
        <p:scale>
          <a:sx n="97" d="100"/>
          <a:sy n="97" d="100"/>
        </p:scale>
        <p:origin x="1512" y="1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C45DF23-771F-44E5-8D5E-FC0ECD506285}" type="datetimeFigureOut">
              <a:t>9/11/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C9EC966-0294-4CCB-83EC-7749E6062784}" type="slidenum"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0707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9EC966-0294-4CCB-83EC-7749E6062784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43231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7BE41260-D37D-4FFB-81B1-2B83A610A317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F20D7E07-F897-3A4B-9059-8149509E336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0" y="0"/>
              <a:ext cx="12192000" cy="6858000"/>
            </a:xfrm>
            <a:prstGeom prst="rect">
              <a:avLst/>
            </a:prstGeom>
          </p:spPr>
        </p:pic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95BB0A4D-A6B7-084D-B44B-FD257FB003A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>
            <a:xfrm rot="5400000">
              <a:off x="8738576" y="-516595"/>
              <a:ext cx="124244" cy="5864993"/>
            </a:xfrm>
            <a:prstGeom prst="rect">
              <a:avLst/>
            </a:prstGeom>
            <a:solidFill>
              <a:srgbClr val="6DAD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9" name="Picture 8" descr="Logo Johns Hopkins&#10;Carey Business School">
            <a:extLst>
              <a:ext uri="{FF2B5EF4-FFF2-40B4-BE49-F238E27FC236}">
                <a16:creationId xmlns:a16="http://schemas.microsoft.com/office/drawing/2014/main" id="{9EF1B78E-2C14-0643-8377-85A3FFE890A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1682" y="5586646"/>
            <a:ext cx="3890031" cy="984818"/>
          </a:xfrm>
          <a:prstGeom prst="rect">
            <a:avLst/>
          </a:prstGeom>
        </p:spPr>
      </p:pic>
      <p:sp>
        <p:nvSpPr>
          <p:cNvPr id="12" name="Title 4">
            <a:extLst>
              <a:ext uri="{FF2B5EF4-FFF2-40B4-BE49-F238E27FC236}">
                <a16:creationId xmlns:a16="http://schemas.microsoft.com/office/drawing/2014/main" id="{BE5927E4-3324-6048-88B6-62B4BCEDE7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68202" y="2637492"/>
            <a:ext cx="5864994" cy="791508"/>
          </a:xfrm>
          <a:prstGeom prst="rect">
            <a:avLst/>
          </a:prstGeom>
        </p:spPr>
        <p:txBody>
          <a:bodyPr/>
          <a:lstStyle>
            <a:lvl1pPr algn="r">
              <a:defRPr sz="60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7540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8E85E5C3-8FCC-40DF-BEFD-77AFB60D83C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83AC2EA1-820B-F844-A1AC-162DE6DA4EE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3B9B22B9-AA09-764E-9921-AA7444FC42A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524" y="0"/>
              <a:ext cx="4343400" cy="6858000"/>
            </a:xfrm>
            <a:prstGeom prst="rect">
              <a:avLst/>
            </a:prstGeom>
          </p:spPr>
        </p:pic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34B7CFCF-BED2-D440-9665-BCF5E5C743B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>
            <a:xfrm>
              <a:off x="4344924" y="0"/>
              <a:ext cx="109888" cy="6858000"/>
            </a:xfrm>
            <a:prstGeom prst="rect">
              <a:avLst/>
            </a:prstGeom>
            <a:solidFill>
              <a:srgbClr val="6DAD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5C1258AF-86B6-824E-8979-814EE136BE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76982" y="6332537"/>
            <a:ext cx="2743200" cy="365125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fld id="{DBA4E684-D84B-E74A-BAD3-84496E53C29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8093BB3-EEE2-C849-94DD-7ACA373F767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113070" y="685801"/>
            <a:ext cx="4593364" cy="5486400"/>
          </a:xfrm>
          <a:prstGeom prst="rect">
            <a:avLst/>
          </a:prstGeom>
        </p:spPr>
        <p:txBody>
          <a:bodyPr anchor="ctr"/>
          <a:lstStyle>
            <a:lvl1pPr algn="ctr">
              <a:defRPr sz="6000">
                <a:solidFill>
                  <a:srgbClr val="002D75"/>
                </a:solidFill>
              </a:defRPr>
            </a:lvl1pPr>
          </a:lstStyle>
          <a:p>
            <a:r>
              <a:rPr lang="en-US"/>
              <a:t>Section title</a:t>
            </a:r>
          </a:p>
        </p:txBody>
      </p:sp>
      <p:pic>
        <p:nvPicPr>
          <p:cNvPr id="15" name="Picture 14" descr="happy male and female student sharing a labtop and making notes in a study area with another couple in the background">
            <a:extLst>
              <a:ext uri="{FF2B5EF4-FFF2-40B4-BE49-F238E27FC236}">
                <a16:creationId xmlns:a16="http://schemas.microsoft.com/office/drawing/2014/main" id="{D1F277C5-05EF-044D-9C1A-857A592B70F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4279" y="685800"/>
            <a:ext cx="5943600" cy="548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811358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FEFCACF3-16ED-4F7B-83E8-660574FA823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83AC2EA1-820B-F844-A1AC-162DE6DA4EE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3B9B22B9-AA09-764E-9921-AA7444FC42A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524" y="0"/>
              <a:ext cx="4343400" cy="6858000"/>
            </a:xfrm>
            <a:prstGeom prst="rect">
              <a:avLst/>
            </a:prstGeom>
          </p:spPr>
        </p:pic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34B7CFCF-BED2-D440-9665-BCF5E5C743B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>
            <a:xfrm>
              <a:off x="4344924" y="0"/>
              <a:ext cx="109888" cy="6858000"/>
            </a:xfrm>
            <a:prstGeom prst="rect">
              <a:avLst/>
            </a:prstGeom>
            <a:solidFill>
              <a:srgbClr val="6DAD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5C1258AF-86B6-824E-8979-814EE136BE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76982" y="6332537"/>
            <a:ext cx="2743200" cy="365125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fld id="{DBA4E684-D84B-E74A-BAD3-84496E53C29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8093BB3-EEE2-C849-94DD-7ACA373F767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113070" y="685801"/>
            <a:ext cx="4593364" cy="5486400"/>
          </a:xfrm>
          <a:prstGeom prst="rect">
            <a:avLst/>
          </a:prstGeom>
        </p:spPr>
        <p:txBody>
          <a:bodyPr anchor="ctr"/>
          <a:lstStyle>
            <a:lvl1pPr algn="ctr">
              <a:defRPr sz="6000">
                <a:solidFill>
                  <a:srgbClr val="002D75"/>
                </a:solidFill>
              </a:defRPr>
            </a:lvl1pPr>
          </a:lstStyle>
          <a:p>
            <a:r>
              <a:rPr lang="en-US"/>
              <a:t>Section title</a:t>
            </a:r>
          </a:p>
        </p:txBody>
      </p:sp>
      <p:pic>
        <p:nvPicPr>
          <p:cNvPr id="14" name="Picture 13" descr="2 male students discussing a business average total cost graph on a white board">
            <a:extLst>
              <a:ext uri="{FF2B5EF4-FFF2-40B4-BE49-F238E27FC236}">
                <a16:creationId xmlns:a16="http://schemas.microsoft.com/office/drawing/2014/main" id="{E0E625CF-D342-DF4B-BEF8-72EDCB73708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4279" y="685799"/>
            <a:ext cx="5943600" cy="548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844540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ECC67869-C689-418A-9C6D-ADDE4DA713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6A3604E5-F3AE-584F-B596-17F1F22D301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C2E5479E-AD1A-CD4B-835A-984766835D2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524" y="0"/>
              <a:ext cx="4343400" cy="6858000"/>
            </a:xfrm>
            <a:prstGeom prst="rect">
              <a:avLst/>
            </a:prstGeom>
          </p:spPr>
        </p:pic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6A988C1B-22C8-0E4B-BC34-6175530A557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>
            <a:xfrm>
              <a:off x="4344924" y="0"/>
              <a:ext cx="109888" cy="6858000"/>
            </a:xfrm>
            <a:prstGeom prst="rect">
              <a:avLst/>
            </a:prstGeom>
            <a:solidFill>
              <a:srgbClr val="6DAD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CCB50484-C0B9-6545-A4A0-B1B19DD9ED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76982" y="6332537"/>
            <a:ext cx="2743200" cy="365125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fld id="{DBA4E684-D84B-E74A-BAD3-84496E53C29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3" name="Picture 12" descr="happy Johns Hopkins students male and female looking at a laptop with female student grasping a Johns Hopkins Carey Business school coffee mug">
            <a:extLst>
              <a:ext uri="{FF2B5EF4-FFF2-40B4-BE49-F238E27FC236}">
                <a16:creationId xmlns:a16="http://schemas.microsoft.com/office/drawing/2014/main" id="{D63457D0-C0C6-4C4C-9049-E8DD1717C53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6982" y="685800"/>
            <a:ext cx="5943600" cy="5486400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D1367F1D-109D-324A-B293-3CB81BD898E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113070" y="685801"/>
            <a:ext cx="4593364" cy="5486400"/>
          </a:xfrm>
          <a:prstGeom prst="rect">
            <a:avLst/>
          </a:prstGeom>
        </p:spPr>
        <p:txBody>
          <a:bodyPr anchor="ctr"/>
          <a:lstStyle>
            <a:lvl1pPr algn="ctr">
              <a:defRPr sz="6000">
                <a:solidFill>
                  <a:srgbClr val="002D75"/>
                </a:soli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75844071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B1A1F2C3-76A6-47D9-B415-C4799DAC62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E57EAA4D-1E42-8147-95DB-7E17BC2F7CD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14C89A80-9075-CC48-A7EE-BBF9B7B0106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524" y="0"/>
              <a:ext cx="4343400" cy="6858000"/>
            </a:xfrm>
            <a:prstGeom prst="rect">
              <a:avLst/>
            </a:prstGeom>
          </p:spPr>
        </p:pic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8A49F92F-5EEB-A243-A6C3-1C090D0ABD3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>
            <a:xfrm>
              <a:off x="4344924" y="0"/>
              <a:ext cx="109888" cy="6858000"/>
            </a:xfrm>
            <a:prstGeom prst="rect">
              <a:avLst/>
            </a:prstGeom>
            <a:solidFill>
              <a:srgbClr val="6DAD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02AD7C49-1A83-D845-B8AE-EC1484E5F3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76982" y="6332537"/>
            <a:ext cx="2743200" cy="365125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fld id="{DBA4E684-D84B-E74A-BAD3-84496E53C29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3" name="Picture 12" descr="2 happy male students sitting in a study area discussing homework projects using paper and pen">
            <a:extLst>
              <a:ext uri="{FF2B5EF4-FFF2-40B4-BE49-F238E27FC236}">
                <a16:creationId xmlns:a16="http://schemas.microsoft.com/office/drawing/2014/main" id="{4D8955B8-C5FF-2548-9179-4096FEBB2AB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6982" y="685800"/>
            <a:ext cx="5943600" cy="5486400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BAA8F8B6-CF57-C047-A2B0-E535701545D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113070" y="685801"/>
            <a:ext cx="4593364" cy="5486400"/>
          </a:xfrm>
          <a:prstGeom prst="rect">
            <a:avLst/>
          </a:prstGeom>
        </p:spPr>
        <p:txBody>
          <a:bodyPr anchor="ctr"/>
          <a:lstStyle>
            <a:lvl1pPr algn="ctr">
              <a:defRPr sz="6000">
                <a:solidFill>
                  <a:srgbClr val="002D75"/>
                </a:soli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68279432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ed Text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4">
            <a:extLst>
              <a:ext uri="{FF2B5EF4-FFF2-40B4-BE49-F238E27FC236}">
                <a16:creationId xmlns:a16="http://schemas.microsoft.com/office/drawing/2014/main" id="{3BFDE49D-A7FB-0B46-9B41-29A5F7C9A0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98963"/>
            <a:ext cx="8229600" cy="5635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8" name="Content Placeholder 4">
            <a:extLst>
              <a:ext uri="{FF2B5EF4-FFF2-40B4-BE49-F238E27FC236}">
                <a16:creationId xmlns:a16="http://schemas.microsoft.com/office/drawing/2014/main" id="{8DE310D5-1ACE-F144-A0F4-41871248ACB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6DADE4"/>
              </a:buClr>
              <a:buFont typeface="Wingdings" pitchFamily="2" charset="2"/>
              <a:buChar char="§"/>
              <a:defRPr/>
            </a:lvl1pPr>
          </a:lstStyle>
          <a:p>
            <a:endParaRPr lang="en-US"/>
          </a:p>
        </p:txBody>
      </p:sp>
      <p:sp>
        <p:nvSpPr>
          <p:cNvPr id="9" name="Date Placeholder 1">
            <a:extLst>
              <a:ext uri="{FF2B5EF4-FFF2-40B4-BE49-F238E27FC236}">
                <a16:creationId xmlns:a16="http://schemas.microsoft.com/office/drawing/2014/main" id="{76CABD29-091A-3841-BE41-A21E7996BC04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461682" y="6356350"/>
            <a:ext cx="2743200" cy="365125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F3AB6005-8FDD-BA49-BCAB-7957EEE318C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E09952BB-C30E-1D45-8334-594D82CC67C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8915400" y="6356350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DBA4E684-D84B-E74A-BAD3-84496E53C29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53708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ed Text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4">
            <a:extLst>
              <a:ext uri="{FF2B5EF4-FFF2-40B4-BE49-F238E27FC236}">
                <a16:creationId xmlns:a16="http://schemas.microsoft.com/office/drawing/2014/main" id="{3BFDE49D-A7FB-0B46-9B41-29A5F7C9A0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50838"/>
            <a:ext cx="8229600" cy="5635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004DA1CD-FD3B-874C-8785-2581B739616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600" y="838200"/>
            <a:ext cx="3657600" cy="381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8" name="Content Placeholder 4">
            <a:extLst>
              <a:ext uri="{FF2B5EF4-FFF2-40B4-BE49-F238E27FC236}">
                <a16:creationId xmlns:a16="http://schemas.microsoft.com/office/drawing/2014/main" id="{8DE310D5-1ACE-F144-A0F4-41871248ACB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6DADE4"/>
              </a:buClr>
              <a:buFont typeface="Wingdings" pitchFamily="2" charset="2"/>
              <a:buChar char="§"/>
              <a:defRPr/>
            </a:lvl1pPr>
          </a:lstStyle>
          <a:p>
            <a:endParaRPr lang="en-US"/>
          </a:p>
        </p:txBody>
      </p:sp>
      <p:sp>
        <p:nvSpPr>
          <p:cNvPr id="9" name="Date Placeholder 1">
            <a:extLst>
              <a:ext uri="{FF2B5EF4-FFF2-40B4-BE49-F238E27FC236}">
                <a16:creationId xmlns:a16="http://schemas.microsoft.com/office/drawing/2014/main" id="{76CABD29-091A-3841-BE41-A21E7996BC04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461682" y="6356350"/>
            <a:ext cx="2743200" cy="365125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F3AB6005-8FDD-BA49-BCAB-7957EEE318C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E09952BB-C30E-1D45-8334-594D82CC67C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8915400" y="6356350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DBA4E684-D84B-E74A-BAD3-84496E53C29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24569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6DADE4"/>
              </a:buClr>
              <a:buFont typeface="Wingdings" pitchFamily="2" charset="2"/>
              <a:buChar char="§"/>
              <a:defRPr/>
            </a:lvl1pPr>
            <a:lvl3pPr marL="1143000" indent="-228600">
              <a:buFont typeface="Courier New" panose="02070309020205020404" pitchFamily="49" charset="0"/>
              <a:buChar char="o"/>
              <a:defRPr/>
            </a:lvl3pPr>
          </a:lstStyle>
          <a:p>
            <a:pPr lvl="0"/>
            <a:r>
              <a:rPr lang="en-US"/>
              <a:t> 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6DADE4"/>
              </a:buClr>
              <a:buFont typeface="Wingdings" pitchFamily="2" charset="2"/>
              <a:buChar char="§"/>
              <a:defRPr/>
            </a:lvl1pPr>
            <a:lvl3pPr marL="1143000" indent="-228600">
              <a:buFont typeface="Courier New" panose="02070309020205020404" pitchFamily="49" charset="0"/>
              <a:buChar char="o"/>
              <a:defRPr/>
            </a:lvl3pPr>
          </a:lstStyle>
          <a:p>
            <a:pPr lvl="0"/>
            <a:r>
              <a:rPr lang="en-US"/>
              <a:t> 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4">
            <a:extLst>
              <a:ext uri="{FF2B5EF4-FFF2-40B4-BE49-F238E27FC236}">
                <a16:creationId xmlns:a16="http://schemas.microsoft.com/office/drawing/2014/main" id="{4A203231-76EC-0946-A5B4-2459D725F8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98963"/>
            <a:ext cx="8229600" cy="5635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Date Placeholder 1">
            <a:extLst>
              <a:ext uri="{FF2B5EF4-FFF2-40B4-BE49-F238E27FC236}">
                <a16:creationId xmlns:a16="http://schemas.microsoft.com/office/drawing/2014/main" id="{06F458C9-204A-224E-9353-043959614F23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461682" y="6356350"/>
            <a:ext cx="2743200" cy="365125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AD73AE2D-B0F4-834D-9D27-B953D56A4A3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E1F99AC-570F-264E-B803-40231EAD570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8915400" y="6356350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DBA4E684-D84B-E74A-BAD3-84496E53C29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784375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6DADE4"/>
              </a:buClr>
              <a:buFont typeface="Wingdings" pitchFamily="2" charset="2"/>
              <a:buChar char="§"/>
              <a:defRPr/>
            </a:lvl1pPr>
            <a:lvl3pPr marL="1143000" indent="-228600">
              <a:buFont typeface="Courier New" panose="02070309020205020404" pitchFamily="49" charset="0"/>
              <a:buChar char="o"/>
              <a:defRPr/>
            </a:lvl3pPr>
          </a:lstStyle>
          <a:p>
            <a:pPr lvl="0"/>
            <a:r>
              <a:rPr lang="en-US"/>
              <a:t> 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6DADE4"/>
              </a:buClr>
              <a:buFont typeface="Wingdings" pitchFamily="2" charset="2"/>
              <a:buChar char="§"/>
              <a:defRPr/>
            </a:lvl1pPr>
            <a:lvl3pPr marL="1143000" indent="-228600">
              <a:buFont typeface="Courier New" panose="02070309020205020404" pitchFamily="49" charset="0"/>
              <a:buChar char="o"/>
              <a:defRPr/>
            </a:lvl3pPr>
          </a:lstStyle>
          <a:p>
            <a:pPr lvl="0"/>
            <a:r>
              <a:rPr lang="en-US"/>
              <a:t> 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itle 4">
            <a:extLst>
              <a:ext uri="{FF2B5EF4-FFF2-40B4-BE49-F238E27FC236}">
                <a16:creationId xmlns:a16="http://schemas.microsoft.com/office/drawing/2014/main" id="{4D177CBB-BD4C-4E4F-85E8-842F675D53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98963"/>
            <a:ext cx="8229600" cy="5635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Date Placeholder 1">
            <a:extLst>
              <a:ext uri="{FF2B5EF4-FFF2-40B4-BE49-F238E27FC236}">
                <a16:creationId xmlns:a16="http://schemas.microsoft.com/office/drawing/2014/main" id="{9DFAB986-AB33-4940-8D0A-ACEC4DC2BB72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461682" y="6356350"/>
            <a:ext cx="2743200" cy="365125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2322289F-EB32-1C45-86BE-313E36A9F7F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79AA0769-1EA5-3149-81D0-14A273960CAB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8915400" y="6356350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DBA4E684-D84B-E74A-BAD3-84496E53C29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672037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183188" y="2041071"/>
            <a:ext cx="6172200" cy="3819979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6DADE4"/>
              </a:buClr>
              <a:buFont typeface="Wingdings" pitchFamily="2" charset="2"/>
              <a:buChar char="§"/>
              <a:defRPr sz="2800"/>
            </a:lvl1pPr>
            <a:lvl2pPr>
              <a:defRPr sz="2800"/>
            </a:lvl2pPr>
            <a:lvl3pPr marL="1143000" indent="-228600">
              <a:buFont typeface="Courier New" panose="02070309020205020404" pitchFamily="49" charset="0"/>
              <a:buChar char="o"/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 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</p:txBody>
      </p:sp>
      <p:sp>
        <p:nvSpPr>
          <p:cNvPr id="6" name="Title 4">
            <a:extLst>
              <a:ext uri="{FF2B5EF4-FFF2-40B4-BE49-F238E27FC236}">
                <a16:creationId xmlns:a16="http://schemas.microsoft.com/office/drawing/2014/main" id="{97A79166-0713-1144-BF2F-6BCD3827CE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98963"/>
            <a:ext cx="8229600" cy="5635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Date Placeholder 1">
            <a:extLst>
              <a:ext uri="{FF2B5EF4-FFF2-40B4-BE49-F238E27FC236}">
                <a16:creationId xmlns:a16="http://schemas.microsoft.com/office/drawing/2014/main" id="{337B4C12-1B8E-784A-A1ED-060A597D7DDE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461682" y="6356350"/>
            <a:ext cx="2743200" cy="365125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6166E961-64AE-414D-B8F5-772A94505D7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Slide Number Placeholder 3">
            <a:extLst>
              <a:ext uri="{FF2B5EF4-FFF2-40B4-BE49-F238E27FC236}">
                <a16:creationId xmlns:a16="http://schemas.microsoft.com/office/drawing/2014/main" id="{02D893E1-5811-D44C-9B18-F5D52B684E8A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8915400" y="6356350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DBA4E684-D84B-E74A-BAD3-84496E53C29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2991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2041071"/>
            <a:ext cx="6172200" cy="381997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</p:txBody>
      </p:sp>
      <p:sp>
        <p:nvSpPr>
          <p:cNvPr id="12" name="Date Placeholder 1">
            <a:extLst>
              <a:ext uri="{FF2B5EF4-FFF2-40B4-BE49-F238E27FC236}">
                <a16:creationId xmlns:a16="http://schemas.microsoft.com/office/drawing/2014/main" id="{D8440193-AA9F-9B48-868A-7802A0F3DF7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61682" y="6356350"/>
            <a:ext cx="2743200" cy="365125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4483161F-B225-214F-9939-BEDEC0BB9A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4" name="Slide Number Placeholder 3">
            <a:extLst>
              <a:ext uri="{FF2B5EF4-FFF2-40B4-BE49-F238E27FC236}">
                <a16:creationId xmlns:a16="http://schemas.microsoft.com/office/drawing/2014/main" id="{D36DF6D4-C6A2-5A4B-8A23-1F6091126C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15400" y="6356350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DBA4E684-D84B-E74A-BAD3-84496E53C29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itle 4">
            <a:extLst>
              <a:ext uri="{FF2B5EF4-FFF2-40B4-BE49-F238E27FC236}">
                <a16:creationId xmlns:a16="http://schemas.microsoft.com/office/drawing/2014/main" id="{09AB5467-47DF-CD44-999A-08C62BF18B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98963"/>
            <a:ext cx="8229600" cy="5635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975317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2A20CC65-E5A5-4847-8DBA-90D7C027329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EEC7F6BD-EFC7-3A44-8F3B-79FB1A4224D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5C047110-ED9D-44F3-A333-863720E86FF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 userDrawn="1"/>
          </p:nvGrpSpPr>
          <p:grpSpPr>
            <a:xfrm>
              <a:off x="1524" y="0"/>
              <a:ext cx="4453288" cy="6858000"/>
              <a:chOff x="1524" y="0"/>
              <a:chExt cx="4453288" cy="6858000"/>
            </a:xfrm>
          </p:grpSpPr>
          <p:pic>
            <p:nvPicPr>
              <p:cNvPr id="17" name="Picture 16">
                <a:extLst>
                  <a:ext uri="{FF2B5EF4-FFF2-40B4-BE49-F238E27FC236}">
                    <a16:creationId xmlns:a16="http://schemas.microsoft.com/office/drawing/2014/main" id="{C891D9B3-2A86-B542-8FAE-72C8BE6FCDFF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524" y="0"/>
                <a:ext cx="4343400" cy="6858000"/>
              </a:xfrm>
              <a:prstGeom prst="rect">
                <a:avLst/>
              </a:prstGeom>
            </p:spPr>
          </p:pic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24A2981D-102C-5645-8E2D-25A7730EE33A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/>
              <p:nvPr userDrawn="1"/>
            </p:nvSpPr>
            <p:spPr>
              <a:xfrm>
                <a:off x="4344924" y="0"/>
                <a:ext cx="109888" cy="6858000"/>
              </a:xfrm>
              <a:prstGeom prst="rect">
                <a:avLst/>
              </a:prstGeom>
              <a:solidFill>
                <a:srgbClr val="6DADE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90096376-E13F-084D-95BF-82DAAB202C17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676982" y="6332537"/>
            <a:ext cx="2743200" cy="365125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fld id="{DBA4E684-D84B-E74A-BAD3-84496E53C29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B0BEE46E-BFB7-264E-A34F-40BDEF2B59C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7113070" y="685801"/>
            <a:ext cx="4593364" cy="5486400"/>
          </a:xfrm>
          <a:prstGeom prst="rect">
            <a:avLst/>
          </a:prstGeom>
        </p:spPr>
        <p:txBody>
          <a:bodyPr anchor="ctr"/>
          <a:lstStyle>
            <a:lvl1pPr algn="ctr">
              <a:defRPr sz="6000">
                <a:solidFill>
                  <a:srgbClr val="002D75"/>
                </a:solidFill>
              </a:defRPr>
            </a:lvl1pPr>
          </a:lstStyle>
          <a:p>
            <a:r>
              <a:rPr lang="en-US"/>
              <a:t>Section title</a:t>
            </a:r>
          </a:p>
        </p:txBody>
      </p:sp>
      <p:pic>
        <p:nvPicPr>
          <p:cNvPr id="13" name="Picture 12" descr="evening view from outside the entrance of Johns Hopkins University&#10;Carey Business School the lights on the inside luminating people working and walk up stairs">
            <a:extLst>
              <a:ext uri="{FF2B5EF4-FFF2-40B4-BE49-F238E27FC236}">
                <a16:creationId xmlns:a16="http://schemas.microsoft.com/office/drawing/2014/main" id="{82C13420-841E-2C43-918D-10A3981B719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4279" y="685799"/>
            <a:ext cx="5943600" cy="548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515546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F20D7E07-F897-3A4B-9059-8149509E33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B7800C57-5FBD-014D-B359-333EF5BBEA3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193793" y="9334287"/>
            <a:ext cx="2220596" cy="25534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5C4C1179-DFA2-D14B-9D95-FDC88B6D534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346193" y="9486687"/>
            <a:ext cx="2220596" cy="255346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FF2DC978-AD0D-6E4D-BB6C-5931824F531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65758" y="6068143"/>
            <a:ext cx="3407695" cy="391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531418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D8A80E-231D-438B-3268-2CCD5970B5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CB6183D-4853-EB61-FAD5-D0C13A5EB31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9744295-0626-7972-7035-F00E76136A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53B4A3-A78B-204B-A9B0-A1D75E5035D7}" type="datetimeFigureOut">
              <a:rPr lang="en-US" smtClean="0"/>
              <a:t>9/11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82AB661-964A-700A-681E-F3CCA65956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6EC519-440E-3026-3AF9-B39964AC80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91B54C-6E98-F446-A871-306BB8C9C6E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940230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Celestia-R1---OverlayContentH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825" cy="685621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4D9132-A6B9-4FE4-9950-5DAD070269F6}" type="datetimeFigureOut">
              <a:rPr lang="en-US" smtClean="0"/>
              <a:t>9/11/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4F6FD7-2FFA-4E2A-8671-45222C163BF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13770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374FD7B1-2AF7-4B6E-AB4D-3198914A971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EEC7F6BD-EFC7-3A44-8F3B-79FB1A4224D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C891D9B3-2A86-B542-8FAE-72C8BE6FCDF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524" y="0"/>
              <a:ext cx="4343400" cy="6858000"/>
            </a:xfrm>
            <a:prstGeom prst="rect">
              <a:avLst/>
            </a:prstGeom>
          </p:spPr>
        </p:pic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24A2981D-102C-5645-8E2D-25A7730EE33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>
            <a:xfrm>
              <a:off x="4344924" y="0"/>
              <a:ext cx="109888" cy="6858000"/>
            </a:xfrm>
            <a:prstGeom prst="rect">
              <a:avLst/>
            </a:prstGeom>
            <a:solidFill>
              <a:srgbClr val="6DAD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90096376-E13F-084D-95BF-82DAAB202C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76982" y="6332537"/>
            <a:ext cx="2743200" cy="365125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fld id="{DBA4E684-D84B-E74A-BAD3-84496E53C29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B0BEE46E-BFB7-264E-A34F-40BDEF2B59C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113070" y="685801"/>
            <a:ext cx="4593364" cy="5486400"/>
          </a:xfrm>
          <a:prstGeom prst="rect">
            <a:avLst/>
          </a:prstGeom>
        </p:spPr>
        <p:txBody>
          <a:bodyPr anchor="ctr"/>
          <a:lstStyle>
            <a:lvl1pPr algn="ctr">
              <a:defRPr sz="6000">
                <a:solidFill>
                  <a:srgbClr val="002D75"/>
                </a:solidFill>
              </a:defRPr>
            </a:lvl1pPr>
          </a:lstStyle>
          <a:p>
            <a:r>
              <a:rPr lang="en-US"/>
              <a:t>Section title</a:t>
            </a:r>
          </a:p>
        </p:txBody>
      </p:sp>
      <p:pic>
        <p:nvPicPr>
          <p:cNvPr id="10" name="Picture 9" descr="an ethnically diverse group of 3 featuring a couple consulting with a professional and sharing laptop outside on a balcony overlooking boats in the harbor.">
            <a:extLst>
              <a:ext uri="{FF2B5EF4-FFF2-40B4-BE49-F238E27FC236}">
                <a16:creationId xmlns:a16="http://schemas.microsoft.com/office/drawing/2014/main" id="{2B71BA05-260E-C34C-8DA8-7C09BE198C0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6982" y="685799"/>
            <a:ext cx="5943600" cy="548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96569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3E6AFB5C-577F-4D9C-8D83-7B0C7BD8235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EEC7F6BD-EFC7-3A44-8F3B-79FB1A4224D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C891D9B3-2A86-B542-8FAE-72C8BE6FCDF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524" y="0"/>
              <a:ext cx="4343400" cy="6858000"/>
            </a:xfrm>
            <a:prstGeom prst="rect">
              <a:avLst/>
            </a:prstGeom>
          </p:spPr>
        </p:pic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24A2981D-102C-5645-8E2D-25A7730EE33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>
            <a:xfrm>
              <a:off x="4344924" y="0"/>
              <a:ext cx="109888" cy="6858000"/>
            </a:xfrm>
            <a:prstGeom prst="rect">
              <a:avLst/>
            </a:prstGeom>
            <a:solidFill>
              <a:srgbClr val="6DAD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90096376-E13F-084D-95BF-82DAAB202C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76982" y="6332537"/>
            <a:ext cx="2743200" cy="365125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fld id="{DBA4E684-D84B-E74A-BAD3-84496E53C29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B0BEE46E-BFB7-264E-A34F-40BDEF2B59C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113070" y="685801"/>
            <a:ext cx="4593364" cy="5486400"/>
          </a:xfrm>
          <a:prstGeom prst="rect">
            <a:avLst/>
          </a:prstGeom>
        </p:spPr>
        <p:txBody>
          <a:bodyPr anchor="ctr"/>
          <a:lstStyle>
            <a:lvl1pPr algn="ctr">
              <a:defRPr sz="6000">
                <a:solidFill>
                  <a:srgbClr val="002D75"/>
                </a:solidFill>
              </a:defRPr>
            </a:lvl1pPr>
          </a:lstStyle>
          <a:p>
            <a:r>
              <a:rPr lang="en-US"/>
              <a:t>Section title</a:t>
            </a:r>
          </a:p>
        </p:txBody>
      </p:sp>
      <p:pic>
        <p:nvPicPr>
          <p:cNvPr id="15" name="Picture 14" descr="3 smiling people at the harbor sharing a laptop at a picnic table ">
            <a:extLst>
              <a:ext uri="{FF2B5EF4-FFF2-40B4-BE49-F238E27FC236}">
                <a16:creationId xmlns:a16="http://schemas.microsoft.com/office/drawing/2014/main" id="{F41DF1C5-9B78-DB4A-9F8E-515B59686E7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6982" y="685800"/>
            <a:ext cx="5943600" cy="548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372774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7E81971F-0850-2B48-9BF8-A765CD378F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76982" y="6332537"/>
            <a:ext cx="2743200" cy="365125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fld id="{DBA4E684-D84B-E74A-BAD3-84496E53C297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E27CE23-E2F8-4302-8DE3-122E34DBC8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41681678-06C2-4941-9335-DFA644A1045A}"/>
                </a:ext>
              </a:extLst>
            </p:cNvPr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8507A249-900B-E54A-963B-3CB24ABDB1F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524" y="0"/>
              <a:ext cx="4343400" cy="6858000"/>
            </a:xfrm>
            <a:prstGeom prst="rect">
              <a:avLst/>
            </a:prstGeom>
          </p:spPr>
        </p:pic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9466B304-D217-6145-B0D4-AC71B29D85A2}"/>
                </a:ext>
              </a:extLst>
            </p:cNvPr>
            <p:cNvSpPr/>
            <p:nvPr userDrawn="1"/>
          </p:nvSpPr>
          <p:spPr>
            <a:xfrm>
              <a:off x="4344924" y="0"/>
              <a:ext cx="109888" cy="6858000"/>
            </a:xfrm>
            <a:prstGeom prst="rect">
              <a:avLst/>
            </a:prstGeom>
            <a:solidFill>
              <a:srgbClr val="6DAD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2" name="Picture 11" descr="outside during daylight shot of Johns Hopkins Carey Busines school looking up at the tall neighborhood building in the background">
            <a:extLst>
              <a:ext uri="{FF2B5EF4-FFF2-40B4-BE49-F238E27FC236}">
                <a16:creationId xmlns:a16="http://schemas.microsoft.com/office/drawing/2014/main" id="{36EA6BE4-3C0F-BA48-8684-DA9E40CA40D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6982" y="685800"/>
            <a:ext cx="5943600" cy="5486400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9F4A3D70-DA23-604C-BC42-17FF5225535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113070" y="685801"/>
            <a:ext cx="4593364" cy="5486400"/>
          </a:xfrm>
          <a:prstGeom prst="rect">
            <a:avLst/>
          </a:prstGeom>
        </p:spPr>
        <p:txBody>
          <a:bodyPr anchor="ctr"/>
          <a:lstStyle>
            <a:lvl1pPr algn="ctr">
              <a:defRPr sz="6000">
                <a:solidFill>
                  <a:srgbClr val="002D75"/>
                </a:soli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5015089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7E81971F-0850-2B48-9BF8-A765CD378F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76982" y="6332537"/>
            <a:ext cx="2743200" cy="365125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fld id="{DBA4E684-D84B-E74A-BAD3-84496E53C297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02BB46A9-6C4A-4A5A-A54F-DB4992F73C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41681678-06C2-4941-9335-DFA644A1045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8507A249-900B-E54A-963B-3CB24ABDB1F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524" y="0"/>
              <a:ext cx="4343400" cy="6858000"/>
            </a:xfrm>
            <a:prstGeom prst="rect">
              <a:avLst/>
            </a:prstGeom>
          </p:spPr>
        </p:pic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9466B304-D217-6145-B0D4-AC71B29D85A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>
            <a:xfrm>
              <a:off x="4344924" y="0"/>
              <a:ext cx="109888" cy="6858000"/>
            </a:xfrm>
            <a:prstGeom prst="rect">
              <a:avLst/>
            </a:prstGeom>
            <a:solidFill>
              <a:srgbClr val="6DAD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0" name="Title 1">
            <a:extLst>
              <a:ext uri="{FF2B5EF4-FFF2-40B4-BE49-F238E27FC236}">
                <a16:creationId xmlns:a16="http://schemas.microsoft.com/office/drawing/2014/main" id="{9F4A3D70-DA23-604C-BC42-17FF5225535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113070" y="685801"/>
            <a:ext cx="4593364" cy="5486400"/>
          </a:xfrm>
          <a:prstGeom prst="rect">
            <a:avLst/>
          </a:prstGeom>
        </p:spPr>
        <p:txBody>
          <a:bodyPr anchor="ctr"/>
          <a:lstStyle>
            <a:lvl1pPr algn="ctr">
              <a:defRPr sz="6000">
                <a:solidFill>
                  <a:srgbClr val="002D75"/>
                </a:solidFill>
              </a:defRPr>
            </a:lvl1pPr>
          </a:lstStyle>
          <a:p>
            <a:r>
              <a:rPr lang="en-US"/>
              <a:t>Section title</a:t>
            </a:r>
          </a:p>
        </p:txBody>
      </p:sp>
      <p:pic>
        <p:nvPicPr>
          <p:cNvPr id="14" name="Picture 13" descr="happy young female student siting inside Carey Business School Building at a laptop looking up">
            <a:extLst>
              <a:ext uri="{FF2B5EF4-FFF2-40B4-BE49-F238E27FC236}">
                <a16:creationId xmlns:a16="http://schemas.microsoft.com/office/drawing/2014/main" id="{3F4291E1-EE9D-FA49-9296-DFCC62CE700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6982" y="685800"/>
            <a:ext cx="5943600" cy="548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490444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7E81971F-0850-2B48-9BF8-A765CD378F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76982" y="6332537"/>
            <a:ext cx="2743200" cy="365125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fld id="{DBA4E684-D84B-E74A-BAD3-84496E53C297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BCB42F89-EBE5-43FC-B8A0-869B9881562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41681678-06C2-4941-9335-DFA644A1045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8507A249-900B-E54A-963B-3CB24ABDB1F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524" y="0"/>
              <a:ext cx="4343400" cy="6858000"/>
            </a:xfrm>
            <a:prstGeom prst="rect">
              <a:avLst/>
            </a:prstGeom>
          </p:spPr>
        </p:pic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9466B304-D217-6145-B0D4-AC71B29D85A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>
            <a:xfrm>
              <a:off x="4344924" y="0"/>
              <a:ext cx="109888" cy="6858000"/>
            </a:xfrm>
            <a:prstGeom prst="rect">
              <a:avLst/>
            </a:prstGeom>
            <a:solidFill>
              <a:srgbClr val="6DAD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0" name="Title 1">
            <a:extLst>
              <a:ext uri="{FF2B5EF4-FFF2-40B4-BE49-F238E27FC236}">
                <a16:creationId xmlns:a16="http://schemas.microsoft.com/office/drawing/2014/main" id="{9F4A3D70-DA23-604C-BC42-17FF5225535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113070" y="685801"/>
            <a:ext cx="4593364" cy="5486400"/>
          </a:xfrm>
          <a:prstGeom prst="rect">
            <a:avLst/>
          </a:prstGeom>
        </p:spPr>
        <p:txBody>
          <a:bodyPr anchor="ctr"/>
          <a:lstStyle>
            <a:lvl1pPr algn="ctr">
              <a:defRPr sz="6000">
                <a:solidFill>
                  <a:srgbClr val="002D75"/>
                </a:solidFill>
              </a:defRPr>
            </a:lvl1pPr>
          </a:lstStyle>
          <a:p>
            <a:r>
              <a:rPr lang="en-US"/>
              <a:t>Section title</a:t>
            </a:r>
          </a:p>
        </p:txBody>
      </p:sp>
      <p:pic>
        <p:nvPicPr>
          <p:cNvPr id="13" name="Picture 12" descr="Carey Business School students in a study area happily looking over each others work with other student working in the background">
            <a:extLst>
              <a:ext uri="{FF2B5EF4-FFF2-40B4-BE49-F238E27FC236}">
                <a16:creationId xmlns:a16="http://schemas.microsoft.com/office/drawing/2014/main" id="{3D7D0F53-61CD-7644-BF2F-F02C9E79153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6982" y="685799"/>
            <a:ext cx="5943600" cy="548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31837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92F1A10A-605C-DC40-BDB5-54760D9F36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76982" y="6332537"/>
            <a:ext cx="2743200" cy="365125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fld id="{DBA4E684-D84B-E74A-BAD3-84496E53C297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B19C853-E7BA-453F-AFC2-500BAEFAF4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8437B004-10D6-614A-B3D2-D8C066ACAE5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9DE25BF1-A725-FD4B-8E22-C432EF6F0F3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524" y="0"/>
              <a:ext cx="4343400" cy="6858000"/>
            </a:xfrm>
            <a:prstGeom prst="rect">
              <a:avLst/>
            </a:prstGeom>
          </p:spPr>
        </p:pic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4327422E-7EF0-284C-B345-46FCE982DA5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>
            <a:xfrm>
              <a:off x="4344924" y="0"/>
              <a:ext cx="109888" cy="6858000"/>
            </a:xfrm>
            <a:prstGeom prst="rect">
              <a:avLst/>
            </a:prstGeom>
            <a:solidFill>
              <a:srgbClr val="6DAD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3" name="Picture 12" descr="4 students in horticultural lab greenhouse discussing a plants surrounded by rows of a variety of other plants">
            <a:extLst>
              <a:ext uri="{FF2B5EF4-FFF2-40B4-BE49-F238E27FC236}">
                <a16:creationId xmlns:a16="http://schemas.microsoft.com/office/drawing/2014/main" id="{A5ABE423-32D1-2A40-9511-2BFCD5D9B88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6982" y="685800"/>
            <a:ext cx="5943600" cy="5486400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C4BDDD9B-DD04-6648-8667-CD6CB5010E7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113070" y="685801"/>
            <a:ext cx="4593364" cy="5486400"/>
          </a:xfrm>
          <a:prstGeom prst="rect">
            <a:avLst/>
          </a:prstGeom>
        </p:spPr>
        <p:txBody>
          <a:bodyPr anchor="ctr"/>
          <a:lstStyle>
            <a:lvl1pPr algn="ctr">
              <a:defRPr sz="6000">
                <a:solidFill>
                  <a:srgbClr val="002D75"/>
                </a:soli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34110748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4B424F21-24B5-4EF7-A38F-3B4CDAC4B3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41594" y="-93518"/>
            <a:ext cx="12275188" cy="6951518"/>
            <a:chOff x="-41594" y="-46759"/>
            <a:chExt cx="12275188" cy="6951518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83AC2EA1-820B-F844-A1AC-162DE6DA4EE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>
            <a:xfrm>
              <a:off x="-41594" y="-46759"/>
              <a:ext cx="12275188" cy="695151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3B9B22B9-AA09-764E-9921-AA7444FC42A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-28090" y="-46759"/>
              <a:ext cx="4402628" cy="6951518"/>
            </a:xfrm>
            <a:prstGeom prst="rect">
              <a:avLst/>
            </a:prstGeom>
          </p:spPr>
        </p:pic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34B7CFCF-BED2-D440-9665-BCF5E5C743B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>
            <a:xfrm>
              <a:off x="4344549" y="-46759"/>
              <a:ext cx="110638" cy="6951518"/>
            </a:xfrm>
            <a:prstGeom prst="rect">
              <a:avLst/>
            </a:prstGeom>
            <a:solidFill>
              <a:srgbClr val="6DAD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5C1258AF-86B6-824E-8979-814EE136BE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67623" y="6330049"/>
            <a:ext cx="2761918" cy="370102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fld id="{DBA4E684-D84B-E74A-BAD3-84496E53C29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3" name="Picture 12" descr="happy student sitting outside in a study area at a laptop smiling at a another student out of the camera frame">
            <a:extLst>
              <a:ext uri="{FF2B5EF4-FFF2-40B4-BE49-F238E27FC236}">
                <a16:creationId xmlns:a16="http://schemas.microsoft.com/office/drawing/2014/main" id="{42218B5D-57BE-DF4F-A02F-4D1921D9195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6458" y="648393"/>
            <a:ext cx="6024648" cy="5561214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78093BB3-EEE2-C849-94DD-7ACA373F767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097399" y="648394"/>
            <a:ext cx="4624706" cy="5561214"/>
          </a:xfrm>
          <a:prstGeom prst="rect">
            <a:avLst/>
          </a:prstGeom>
        </p:spPr>
        <p:txBody>
          <a:bodyPr anchor="ctr"/>
          <a:lstStyle>
            <a:lvl1pPr algn="ctr">
              <a:defRPr sz="6000">
                <a:solidFill>
                  <a:srgbClr val="002D75"/>
                </a:soli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91653459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jpe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ate Placeholder 1">
            <a:extLst>
              <a:ext uri="{FF2B5EF4-FFF2-40B4-BE49-F238E27FC236}">
                <a16:creationId xmlns:a16="http://schemas.microsoft.com/office/drawing/2014/main" id="{C7454B22-3047-7C4A-B82D-B01E02E5F43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61682" y="6356350"/>
            <a:ext cx="2743200" cy="365125"/>
          </a:xfrm>
          <a:prstGeom prst="rect">
            <a:avLst/>
          </a:prstGeom>
        </p:spPr>
        <p:txBody>
          <a:bodyPr/>
          <a:lstStyle>
            <a:lvl1pPr algn="l"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5" name="Footer Placeholder 2">
            <a:extLst>
              <a:ext uri="{FF2B5EF4-FFF2-40B4-BE49-F238E27FC236}">
                <a16:creationId xmlns:a16="http://schemas.microsoft.com/office/drawing/2014/main" id="{B0B01A15-968E-CF4B-A08C-923F271F1E5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 algn="ctr"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6" name="Slide Number Placeholder 3">
            <a:extLst>
              <a:ext uri="{FF2B5EF4-FFF2-40B4-BE49-F238E27FC236}">
                <a16:creationId xmlns:a16="http://schemas.microsoft.com/office/drawing/2014/main" id="{56D816E7-754C-3E4B-9223-61722AFE9E9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15400" y="6356350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DBA4E684-D84B-E74A-BAD3-84496E53C297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4045BD4F-30A4-4607-8114-4574089B85D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" y="0"/>
            <a:ext cx="12192001" cy="1464416"/>
            <a:chOff x="-1" y="0"/>
            <a:chExt cx="12192001" cy="1464416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A68ED655-8A05-C04D-ADC9-4CFB1337715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-1" y="0"/>
              <a:ext cx="12192000" cy="1371600"/>
            </a:xfrm>
            <a:prstGeom prst="rect">
              <a:avLst/>
            </a:prstGeom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9C4D1675-04C7-D54F-A463-A30BD9006FD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5" cstate="email">
              <a:alphaModFix amt="3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-1038" r="25763"/>
            <a:stretch/>
          </p:blipFill>
          <p:spPr>
            <a:xfrm>
              <a:off x="11237120" y="14361"/>
              <a:ext cx="954879" cy="1360770"/>
            </a:xfrm>
            <a:prstGeom prst="rect">
              <a:avLst/>
            </a:prstGeom>
            <a:effectLst>
              <a:outerShdw blurRad="50800" dist="50800" dir="5400000" algn="ctr" rotWithShape="0">
                <a:srgbClr val="000000">
                  <a:alpha val="0"/>
                </a:srgbClr>
              </a:outerShdw>
              <a:reflection endPos="65000" dist="50800" dir="5400000" sy="-100000" algn="bl" rotWithShape="0"/>
            </a:effectLst>
          </p:spPr>
        </p:pic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7F11FA76-8D4F-5846-AA52-4235DE0EADE4}"/>
                </a:ext>
              </a:extLst>
            </p:cNvPr>
            <p:cNvSpPr/>
            <p:nvPr userDrawn="1"/>
          </p:nvSpPr>
          <p:spPr>
            <a:xfrm>
              <a:off x="-1" y="1346088"/>
              <a:ext cx="12191999" cy="11832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1A86A1D4-9651-AA4D-BC37-9BEA747718A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5" cstate="email">
              <a:alphaModFix amt="3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-1038" r="25763"/>
            <a:stretch/>
          </p:blipFill>
          <p:spPr>
            <a:xfrm>
              <a:off x="11237121" y="12596"/>
              <a:ext cx="954879" cy="1360770"/>
            </a:xfrm>
            <a:prstGeom prst="rect">
              <a:avLst/>
            </a:prstGeom>
            <a:effectLst>
              <a:outerShdw blurRad="50800" dist="50800" dir="5400000" algn="ctr" rotWithShape="0">
                <a:srgbClr val="000000">
                  <a:alpha val="0"/>
                </a:srgbClr>
              </a:outerShdw>
              <a:reflection endPos="65000" dist="50800" dir="5400000" sy="-100000" algn="bl" rotWithShape="0"/>
            </a:effectLst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B4C8FDAB-76EA-8A4A-B238-7CD0256A13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5" cstate="email">
              <a:alphaModFix amt="3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-1038" r="25763"/>
            <a:stretch/>
          </p:blipFill>
          <p:spPr>
            <a:xfrm>
              <a:off x="11237121" y="12596"/>
              <a:ext cx="954879" cy="136077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338055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69" r:id="rId2"/>
    <p:sldLayoutId id="2147483684" r:id="rId3"/>
    <p:sldLayoutId id="2147483683" r:id="rId4"/>
    <p:sldLayoutId id="2147483672" r:id="rId5"/>
    <p:sldLayoutId id="2147483685" r:id="rId6"/>
    <p:sldLayoutId id="2147483686" r:id="rId7"/>
    <p:sldLayoutId id="2147483675" r:id="rId8"/>
    <p:sldLayoutId id="2147483674" r:id="rId9"/>
    <p:sldLayoutId id="2147483687" r:id="rId10"/>
    <p:sldLayoutId id="2147483688" r:id="rId11"/>
    <p:sldLayoutId id="2147483678" r:id="rId12"/>
    <p:sldLayoutId id="2147483679" r:id="rId13"/>
    <p:sldLayoutId id="2147483668" r:id="rId14"/>
    <p:sldLayoutId id="2147483682" r:id="rId15"/>
    <p:sldLayoutId id="2147483652" r:id="rId16"/>
    <p:sldLayoutId id="2147483653" r:id="rId17"/>
    <p:sldLayoutId id="2147483656" r:id="rId18"/>
    <p:sldLayoutId id="2147483657" r:id="rId19"/>
    <p:sldLayoutId id="2147483681" r:id="rId20"/>
    <p:sldLayoutId id="2147483693" r:id="rId21"/>
    <p:sldLayoutId id="2147483694" r:id="rId22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1.xml"/><Relationship Id="rId5" Type="http://schemas.openxmlformats.org/officeDocument/2006/relationships/image" Target="../media/image22.jpeg"/><Relationship Id="rId4" Type="http://schemas.openxmlformats.org/officeDocument/2006/relationships/image" Target="../media/image2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2.xml"/><Relationship Id="rId4" Type="http://schemas.openxmlformats.org/officeDocument/2006/relationships/image" Target="../media/image23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AAD5D4-857D-A846-A64C-DFC5AD0680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1153" y="2562541"/>
            <a:ext cx="6734182" cy="2115639"/>
          </a:xfrm>
        </p:spPr>
        <p:txBody>
          <a:bodyPr lIns="91440" tIns="45720" rIns="91440" bIns="45720" anchor="t"/>
          <a:lstStyle/>
          <a:p>
            <a:r>
              <a:rPr lang="en-US" sz="5400" dirty="0"/>
              <a:t>Bus. Communication</a:t>
            </a:r>
            <a:br>
              <a:rPr lang="en-US" sz="5400" dirty="0">
                <a:cs typeface="Calibri Light"/>
              </a:rPr>
            </a:br>
            <a:r>
              <a:rPr lang="en-US" sz="5400" dirty="0">
                <a:cs typeface="Calibri Light"/>
              </a:rPr>
              <a:t>Class 2</a:t>
            </a:r>
            <a:br>
              <a:rPr lang="en-US" dirty="0">
                <a:cs typeface="Calibri Light"/>
              </a:rPr>
            </a:br>
            <a:r>
              <a:rPr lang="en-US" sz="2000" dirty="0">
                <a:cs typeface="Calibri Light"/>
              </a:rPr>
              <a:t>Dr. Clara Ma</a:t>
            </a:r>
            <a:br>
              <a:rPr lang="en-US" sz="2000" dirty="0">
                <a:cs typeface="Calibri Light"/>
              </a:rPr>
            </a:br>
            <a:br>
              <a:rPr lang="en-US" sz="2000" dirty="0">
                <a:cs typeface="Calibri Light"/>
              </a:rPr>
            </a:br>
            <a:r>
              <a:rPr lang="en-US" sz="2000" dirty="0">
                <a:cs typeface="Calibri Light"/>
              </a:rPr>
              <a:t>Have you ever listened to a presenter who sounded super smart – without having any ideas what she really said?</a:t>
            </a:r>
            <a:br>
              <a:rPr lang="en-US" sz="2000" dirty="0">
                <a:cs typeface="Calibri Light"/>
              </a:rPr>
            </a:br>
            <a:br>
              <a:rPr lang="en-US" sz="2000" dirty="0">
                <a:cs typeface="Calibri Light"/>
              </a:rPr>
            </a:br>
            <a:br>
              <a:rPr lang="en-US" sz="2000" dirty="0">
                <a:cs typeface="Calibri Light"/>
              </a:rPr>
            </a:br>
            <a:endParaRPr lang="en-US" sz="1800" dirty="0">
              <a:cs typeface="Calibri Light"/>
            </a:endParaRPr>
          </a:p>
        </p:txBody>
      </p:sp>
    </p:spTree>
    <p:extLst>
      <p:ext uri="{BB962C8B-B14F-4D97-AF65-F5344CB8AC3E}">
        <p14:creationId xmlns:p14="http://schemas.microsoft.com/office/powerpoint/2010/main" val="135159346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EDF3FD5-8C69-43C5-AFC3-50632F614B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A4E684-D84B-E74A-BAD3-84496E53C297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9A0B3BC-71FC-F239-2591-807E95DF985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algn="l"/>
            <a:r>
              <a:rPr lang="en-US" sz="3200" dirty="0"/>
              <a:t>1. Warmup: Kahoot</a:t>
            </a:r>
            <a:br>
              <a:rPr lang="en-US" sz="3200" dirty="0"/>
            </a:br>
            <a:r>
              <a:rPr lang="en-US" sz="3200" dirty="0"/>
              <a:t>2. Review SUCCESSs</a:t>
            </a:r>
            <a:br>
              <a:rPr lang="en-US" sz="3200" dirty="0"/>
            </a:br>
            <a:r>
              <a:rPr lang="en-US" sz="3200" dirty="0"/>
              <a:t>3. Group Presentation Debrief</a:t>
            </a:r>
            <a:br>
              <a:rPr lang="en-US" sz="3200" dirty="0"/>
            </a:br>
            <a:r>
              <a:rPr lang="en-US" sz="3200" dirty="0"/>
              <a:t>4. Sharing feedback </a:t>
            </a:r>
            <a:br>
              <a:rPr lang="en-US" sz="3200" dirty="0"/>
            </a:br>
            <a:r>
              <a:rPr lang="en-US" sz="3200" dirty="0"/>
              <a:t>5. Culture in Communication</a:t>
            </a:r>
            <a:br>
              <a:rPr lang="en-US" sz="3200" dirty="0"/>
            </a:br>
            <a:r>
              <a:rPr lang="en-US" sz="3200" dirty="0"/>
              <a:t>6. Public Communication</a:t>
            </a:r>
            <a:br>
              <a:rPr lang="en-US" sz="3200" dirty="0"/>
            </a:br>
            <a:r>
              <a:rPr lang="en-US" sz="3200" dirty="0"/>
              <a:t>7. </a:t>
            </a:r>
            <a:r>
              <a:rPr lang="en-US" sz="3200"/>
              <a:t>Feedback </a:t>
            </a:r>
            <a:br>
              <a:rPr lang="en-US" sz="3200" dirty="0"/>
            </a:br>
            <a:br>
              <a:rPr lang="en-US" sz="2400" dirty="0"/>
            </a:br>
            <a:br>
              <a:rPr lang="en-US" sz="2400" dirty="0"/>
            </a:b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383787618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screenshot of a social media post&#10;&#10;Description automatically generated">
            <a:extLst>
              <a:ext uri="{FF2B5EF4-FFF2-40B4-BE49-F238E27FC236}">
                <a16:creationId xmlns:a16="http://schemas.microsoft.com/office/drawing/2014/main" id="{8E55498E-3FD4-6C00-F613-2D7EFF7C9DD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408"/>
          <a:stretch/>
        </p:blipFill>
        <p:spPr>
          <a:xfrm>
            <a:off x="20" y="-833886"/>
            <a:ext cx="12191980" cy="685799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37C89E4B-3C9F-44B9-8B86-D9E3D112D8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5320142"/>
            <a:ext cx="12192000" cy="736551"/>
          </a:xfrm>
          <a:prstGeom prst="rect">
            <a:avLst/>
          </a:prstGeom>
          <a:solidFill>
            <a:schemeClr val="bg1">
              <a:alpha val="9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A2EAA10-076F-46BD-8F0F-B9A2FB77A85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0" y="5241983"/>
            <a:ext cx="12192000" cy="0"/>
          </a:xfrm>
          <a:prstGeom prst="line">
            <a:avLst/>
          </a:prstGeom>
          <a:ln w="41275">
            <a:solidFill>
              <a:schemeClr val="bg1">
                <a:alpha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D891E407-403B-4764-86C9-33A56D3BCA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0" y="6134852"/>
            <a:ext cx="12192000" cy="0"/>
          </a:xfrm>
          <a:prstGeom prst="line">
            <a:avLst/>
          </a:prstGeom>
          <a:ln w="41275">
            <a:solidFill>
              <a:schemeClr val="bg1">
                <a:alpha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CD75299-B9C7-CA08-3E0C-465A4B8C4A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r" defTabSz="457200">
              <a:spcAft>
                <a:spcPts val="600"/>
              </a:spcAft>
            </a:pPr>
            <a:fld id="{DBA4E684-D84B-E74A-BAD3-84496E53C297}" type="slidenum">
              <a:rPr lang="en-US" sz="1200">
                <a:solidFill>
                  <a:srgbClr val="FFFFFF"/>
                </a:solidFill>
              </a:rPr>
              <a:pPr algn="r" defTabSz="457200">
                <a:spcAft>
                  <a:spcPts val="600"/>
                </a:spcAft>
              </a:pPr>
              <a:t>3</a:t>
            </a:fld>
            <a:endParaRPr lang="en-US" sz="12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701898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F3A57D5-255A-8746-A796-EEC60ACE3E7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F3A57D5-255A-8746-A796-EEC60ACE3E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AC26C86-C6D8-774B-8BB7-1AD95A612C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Your reader or audience always wonders…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00008DF-1574-9243-9DCF-C906FBBB514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26597" y="3429000"/>
            <a:ext cx="5086612" cy="1907088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4000" b="1" dirty="0">
                <a:solidFill>
                  <a:srgbClr val="FF0000"/>
                </a:solidFill>
              </a:rPr>
              <a:t>W</a:t>
            </a:r>
            <a:r>
              <a:rPr lang="en-US" sz="4000" dirty="0"/>
              <a:t>hat’s </a:t>
            </a:r>
            <a:r>
              <a:rPr lang="en-US" sz="4000" b="1" dirty="0">
                <a:solidFill>
                  <a:srgbClr val="FF0000"/>
                </a:solidFill>
              </a:rPr>
              <a:t>I</a:t>
            </a:r>
            <a:r>
              <a:rPr lang="en-US" sz="4000" dirty="0"/>
              <a:t>n </a:t>
            </a:r>
            <a:r>
              <a:rPr lang="en-US" sz="4000" b="1" dirty="0">
                <a:solidFill>
                  <a:srgbClr val="FF0000"/>
                </a:solidFill>
              </a:rPr>
              <a:t>I</a:t>
            </a:r>
            <a:r>
              <a:rPr lang="en-US" sz="4000" dirty="0"/>
              <a:t>t </a:t>
            </a:r>
            <a:r>
              <a:rPr lang="en-US" sz="4000" b="1" dirty="0">
                <a:solidFill>
                  <a:srgbClr val="FF0000"/>
                </a:solidFill>
              </a:rPr>
              <a:t>F</a:t>
            </a:r>
            <a:r>
              <a:rPr lang="en-US" sz="4000" dirty="0"/>
              <a:t>or </a:t>
            </a:r>
            <a:r>
              <a:rPr lang="en-US" sz="4000" b="1" dirty="0">
                <a:solidFill>
                  <a:srgbClr val="FF0000"/>
                </a:solidFill>
              </a:rPr>
              <a:t>T</a:t>
            </a:r>
            <a:r>
              <a:rPr lang="en-US" sz="4000" dirty="0"/>
              <a:t>hem?</a:t>
            </a:r>
          </a:p>
          <a:p>
            <a:pPr marL="0" indent="0">
              <a:buNone/>
            </a:pPr>
            <a:r>
              <a:rPr lang="en-US" sz="4000" dirty="0"/>
              <a:t>(</a:t>
            </a:r>
            <a:r>
              <a:rPr lang="en-US" sz="4000" dirty="0">
                <a:solidFill>
                  <a:srgbClr val="FF0000"/>
                </a:solidFill>
              </a:rPr>
              <a:t>WIIIFT</a:t>
            </a:r>
            <a:r>
              <a:rPr lang="en-US" sz="4000" dirty="0"/>
              <a:t>)</a:t>
            </a:r>
          </a:p>
        </p:txBody>
      </p:sp>
      <p:pic>
        <p:nvPicPr>
          <p:cNvPr id="35842" name="Picture 2" descr="Always ask WIFFT – What&amp;#39;s In It For Them | Brave Masters">
            <a:extLst>
              <a:ext uri="{FF2B5EF4-FFF2-40B4-BE49-F238E27FC236}">
                <a16:creationId xmlns:a16="http://schemas.microsoft.com/office/drawing/2014/main" id="{F74F564C-5E5A-8347-B57D-CE6E54A195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4700" y="1703888"/>
            <a:ext cx="5321300" cy="3632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8904159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43E9F9-2A19-B54F-9A8E-980C27C783A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43E9F9-2A19-B54F-9A8E-980C27C783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ACD4B57-DCD4-6446-9E86-6A0B79D7D9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365125"/>
            <a:ext cx="10598063" cy="5760102"/>
          </a:xfrm>
        </p:spPr>
        <p:txBody>
          <a:bodyPr vert="horz">
            <a:normAutofit/>
          </a:bodyPr>
          <a:lstStyle/>
          <a:p>
            <a:r>
              <a:rPr lang="en-US" dirty="0"/>
              <a:t>And don’t forget the all-important factor:</a:t>
            </a:r>
            <a:br>
              <a:rPr lang="en-US" dirty="0"/>
            </a:br>
            <a:br>
              <a:rPr lang="en-US" dirty="0"/>
            </a:br>
            <a:r>
              <a:rPr lang="en-US" b="1" dirty="0">
                <a:solidFill>
                  <a:srgbClr val="FF0000"/>
                </a:solidFill>
              </a:rPr>
              <a:t>H</a:t>
            </a:r>
            <a:r>
              <a:rPr lang="en-US" dirty="0"/>
              <a:t>igh </a:t>
            </a:r>
            <a:br>
              <a:rPr lang="en-US" dirty="0"/>
            </a:br>
            <a:r>
              <a:rPr lang="en-US" b="1" dirty="0">
                <a:solidFill>
                  <a:srgbClr val="FF0000"/>
                </a:solidFill>
              </a:rPr>
              <a:t>S</a:t>
            </a:r>
            <a:r>
              <a:rPr lang="en-US" dirty="0"/>
              <a:t>kim</a:t>
            </a:r>
            <a:br>
              <a:rPr lang="en-US" dirty="0"/>
            </a:br>
            <a:r>
              <a:rPr lang="en-US" b="1" dirty="0">
                <a:solidFill>
                  <a:srgbClr val="FF0000"/>
                </a:solidFill>
              </a:rPr>
              <a:t>V</a:t>
            </a:r>
            <a:r>
              <a:rPr lang="en-US" dirty="0"/>
              <a:t>alue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28F95F9-004C-C841-9AF0-12A97C645566}"/>
              </a:ext>
            </a:extLst>
          </p:cNvPr>
          <p:cNvSpPr txBox="1"/>
          <p:nvPr/>
        </p:nvSpPr>
        <p:spPr>
          <a:xfrm>
            <a:off x="7127310" y="5940561"/>
            <a:ext cx="352320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So how do you get high skim value?</a:t>
            </a:r>
          </a:p>
        </p:txBody>
      </p:sp>
    </p:spTree>
    <p:extLst>
      <p:ext uri="{BB962C8B-B14F-4D97-AF65-F5344CB8AC3E}">
        <p14:creationId xmlns:p14="http://schemas.microsoft.com/office/powerpoint/2010/main" val="4922103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arey Brand Colors">
      <a:dk1>
        <a:srgbClr val="000000"/>
      </a:dk1>
      <a:lt1>
        <a:srgbClr val="FFFFFF"/>
      </a:lt1>
      <a:dk2>
        <a:srgbClr val="666666"/>
      </a:dk2>
      <a:lt2>
        <a:srgbClr val="E7E6E6"/>
      </a:lt2>
      <a:accent1>
        <a:srgbClr val="002C71"/>
      </a:accent1>
      <a:accent2>
        <a:srgbClr val="00AB8E"/>
      </a:accent2>
      <a:accent3>
        <a:srgbClr val="86C8BC"/>
      </a:accent3>
      <a:accent4>
        <a:srgbClr val="D2D755"/>
      </a:accent4>
      <a:accent5>
        <a:srgbClr val="00866F"/>
      </a:accent5>
      <a:accent6>
        <a:srgbClr val="FF9E1B"/>
      </a:accent6>
      <a:hlink>
        <a:srgbClr val="69A9E3"/>
      </a:hlink>
      <a:folHlink>
        <a:srgbClr val="A35995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3762</TotalTime>
  <Words>118</Words>
  <Application>Microsoft Macintosh PowerPoint</Application>
  <PresentationFormat>Widescreen</PresentationFormat>
  <Paragraphs>10</Paragraphs>
  <Slides>5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2" baseType="lpstr">
      <vt:lpstr>Arial</vt:lpstr>
      <vt:lpstr>Calibri</vt:lpstr>
      <vt:lpstr>Calibri Light</vt:lpstr>
      <vt:lpstr>Courier New</vt:lpstr>
      <vt:lpstr>Wingdings</vt:lpstr>
      <vt:lpstr>Office Theme</vt:lpstr>
      <vt:lpstr>think-cell Slide</vt:lpstr>
      <vt:lpstr>Bus. Communication Class 2 Dr. Clara Ma  Have you ever listened to a presenter who sounded super smart – without having any ideas what she really said?   </vt:lpstr>
      <vt:lpstr>1. Warmup: Kahoot 2. Review SUCCESSs 3. Group Presentation Debrief 4. Sharing feedback  5. Culture in Communication 6. Public Communication 7. Feedback    </vt:lpstr>
      <vt:lpstr>PowerPoint Presentation</vt:lpstr>
      <vt:lpstr>Your reader or audience always wonders…</vt:lpstr>
      <vt:lpstr>And don’t forget the all-important factor:  High  Skim Valu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/>
  <cp:lastModifiedBy>Clara Ma</cp:lastModifiedBy>
  <cp:revision>646</cp:revision>
  <dcterms:created xsi:type="dcterms:W3CDTF">2023-09-04T18:25:54Z</dcterms:created>
  <dcterms:modified xsi:type="dcterms:W3CDTF">2024-09-11T23:12:57Z</dcterms:modified>
</cp:coreProperties>
</file>